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9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1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8329DE-4F11-CD89-A49D-B262EAB45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520BB4-8260-3372-FCF4-6BC1AC3EB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520BB4-8260-3372-FCF4-6BC1AC3EB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39A57A-8535-EEE3-1499-BF08724727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31BDB6-5D79-5E16-1489-BEECED675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C0EFA4-DF93-CF1A-D1BE-7780F1D2634F}"/>
              </a:ext>
            </a:extLst>
          </p:cNvPr>
          <p:cNvSpPr txBox="1"/>
          <p:nvPr/>
        </p:nvSpPr>
        <p:spPr>
          <a:xfrm>
            <a:off x="488655" y="1529461"/>
            <a:ext cx="2085436" cy="11028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58458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 he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7E1815-FF42-A028-494D-949C48592626}"/>
              </a:ext>
            </a:extLst>
          </p:cNvPr>
          <p:cNvSpPr/>
          <p:nvPr/>
        </p:nvSpPr>
        <p:spPr>
          <a:xfrm>
            <a:off x="488655" y="5221511"/>
            <a:ext cx="2085436" cy="11028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8458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 her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1254244-DE4A-745D-3EDD-F037B89AEA8C}"/>
              </a:ext>
            </a:extLst>
          </p:cNvPr>
          <p:cNvGrpSpPr/>
          <p:nvPr/>
        </p:nvGrpSpPr>
        <p:grpSpPr>
          <a:xfrm>
            <a:off x="222480" y="5494199"/>
            <a:ext cx="557436" cy="557436"/>
            <a:chOff x="4369729" y="2491926"/>
            <a:chExt cx="495806" cy="49580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2E606B6-83D4-43DA-DCCC-59A4B51EFEC3}"/>
                </a:ext>
              </a:extLst>
            </p:cNvPr>
            <p:cNvSpPr/>
            <p:nvPr/>
          </p:nvSpPr>
          <p:spPr>
            <a:xfrm>
              <a:off x="4369729" y="2491926"/>
              <a:ext cx="495806" cy="49580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solidFill>
                  <a:srgbClr val="FFFFFF"/>
                </a:solidFill>
                <a:ea typeface="ＭＳ Ｐゴシック"/>
              </a:endParaRPr>
            </a:p>
          </p:txBody>
        </p:sp>
        <p:pic>
          <p:nvPicPr>
            <p:cNvPr id="9" name="Picture 12" descr="Related image">
              <a:extLst>
                <a:ext uri="{FF2B5EF4-FFF2-40B4-BE49-F238E27FC236}">
                  <a16:creationId xmlns:a16="http://schemas.microsoft.com/office/drawing/2014/main" id="{72B3459F-77E6-F6E4-F0DD-11A71AD194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8860" y="2548956"/>
              <a:ext cx="397544" cy="3975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642F27A-D1ED-C157-DC04-F61A28DC3014}"/>
              </a:ext>
            </a:extLst>
          </p:cNvPr>
          <p:cNvSpPr/>
          <p:nvPr/>
        </p:nvSpPr>
        <p:spPr>
          <a:xfrm>
            <a:off x="488655" y="2760144"/>
            <a:ext cx="2085436" cy="11028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8458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 he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B7B786-D0F8-ED67-391B-0BE42ADEE5A4}"/>
              </a:ext>
            </a:extLst>
          </p:cNvPr>
          <p:cNvGrpSpPr/>
          <p:nvPr/>
        </p:nvGrpSpPr>
        <p:grpSpPr>
          <a:xfrm>
            <a:off x="222480" y="3032832"/>
            <a:ext cx="557436" cy="557436"/>
            <a:chOff x="7054005" y="2016495"/>
            <a:chExt cx="495806" cy="49580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85FAF7A-7B7A-8F9B-189D-DDF0EF60C3D4}"/>
                </a:ext>
              </a:extLst>
            </p:cNvPr>
            <p:cNvSpPr/>
            <p:nvPr/>
          </p:nvSpPr>
          <p:spPr>
            <a:xfrm>
              <a:off x="7054005" y="2016495"/>
              <a:ext cx="495806" cy="49580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solidFill>
                  <a:srgbClr val="FFFFFF"/>
                </a:solidFill>
                <a:ea typeface="ＭＳ Ｐゴシック"/>
              </a:endParaRPr>
            </a:p>
          </p:txBody>
        </p:sp>
        <p:pic>
          <p:nvPicPr>
            <p:cNvPr id="13" name="Picture 8" descr="Image result for restart  icon">
              <a:extLst>
                <a:ext uri="{FF2B5EF4-FFF2-40B4-BE49-F238E27FC236}">
                  <a16:creationId xmlns:a16="http://schemas.microsoft.com/office/drawing/2014/main" id="{D7A28330-7A93-46B9-34F0-DE2F2E4564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5249" y="2109337"/>
              <a:ext cx="313319" cy="3101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403F30E-F69C-426A-DAFB-53CF938C0E62}"/>
              </a:ext>
            </a:extLst>
          </p:cNvPr>
          <p:cNvSpPr/>
          <p:nvPr/>
        </p:nvSpPr>
        <p:spPr>
          <a:xfrm>
            <a:off x="488655" y="3990828"/>
            <a:ext cx="2085436" cy="110281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8458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Text her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62C15B2-F3A4-9345-3C52-F495C1DDAAD8}"/>
              </a:ext>
            </a:extLst>
          </p:cNvPr>
          <p:cNvGrpSpPr/>
          <p:nvPr/>
        </p:nvGrpSpPr>
        <p:grpSpPr>
          <a:xfrm>
            <a:off x="222480" y="4263516"/>
            <a:ext cx="557436" cy="557436"/>
            <a:chOff x="1594190" y="2016495"/>
            <a:chExt cx="495806" cy="49580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91C5EF0D-E1C3-8ECA-8D6C-42A15187040E}"/>
                </a:ext>
              </a:extLst>
            </p:cNvPr>
            <p:cNvSpPr/>
            <p:nvPr/>
          </p:nvSpPr>
          <p:spPr>
            <a:xfrm>
              <a:off x="1594190" y="2016495"/>
              <a:ext cx="495806" cy="49580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solidFill>
                  <a:srgbClr val="FFFFFF"/>
                </a:solidFill>
                <a:ea typeface="ＭＳ Ｐゴシック"/>
              </a:endParaRPr>
            </a:p>
          </p:txBody>
        </p:sp>
        <p:pic>
          <p:nvPicPr>
            <p:cNvPr id="17" name="Picture 2" descr="Related image">
              <a:extLst>
                <a:ext uri="{FF2B5EF4-FFF2-40B4-BE49-F238E27FC236}">
                  <a16:creationId xmlns:a16="http://schemas.microsoft.com/office/drawing/2014/main" id="{17FC361F-311A-8022-05E8-92197247F3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4798" y="2097103"/>
              <a:ext cx="334590" cy="334590"/>
            </a:xfrm>
            <a:prstGeom prst="rect">
              <a:avLst/>
            </a:prstGeom>
            <a:solidFill>
              <a:srgbClr val="FFFFFF"/>
            </a:solidFill>
          </p:spPr>
        </p:pic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7441FA6-C09C-6C49-A03B-F91E3BE5F343}"/>
              </a:ext>
            </a:extLst>
          </p:cNvPr>
          <p:cNvCxnSpPr/>
          <p:nvPr/>
        </p:nvCxnSpPr>
        <p:spPr>
          <a:xfrm>
            <a:off x="2650556" y="1461500"/>
            <a:ext cx="890097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85BD91D-6A64-5D72-2E9F-C182DF3FA000}"/>
              </a:ext>
            </a:extLst>
          </p:cNvPr>
          <p:cNvGrpSpPr/>
          <p:nvPr/>
        </p:nvGrpSpPr>
        <p:grpSpPr>
          <a:xfrm>
            <a:off x="2650557" y="1191234"/>
            <a:ext cx="4467874" cy="4271560"/>
            <a:chOff x="2650556" y="1191234"/>
            <a:chExt cx="8900977" cy="427156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9589334-DF15-0CC2-99CB-F5DE6CDA7CD0}"/>
                </a:ext>
              </a:extLst>
            </p:cNvPr>
            <p:cNvSpPr/>
            <p:nvPr/>
          </p:nvSpPr>
          <p:spPr>
            <a:xfrm>
              <a:off x="2650556" y="1529460"/>
              <a:ext cx="8900977" cy="2412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294"/>
                </a:spcBef>
                <a:spcAft>
                  <a:spcPts val="294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68" b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ＭＳ Ｐゴシック"/>
                  <a:cs typeface="+mn-cs"/>
                </a:rPr>
                <a:t>Text her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AE9A77E-FB9E-25CE-5844-6091E597B49F}"/>
                </a:ext>
              </a:extLst>
            </p:cNvPr>
            <p:cNvSpPr txBox="1"/>
            <p:nvPr/>
          </p:nvSpPr>
          <p:spPr>
            <a:xfrm flipH="1">
              <a:off x="2650556" y="1191234"/>
              <a:ext cx="8900977" cy="2412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ＭＳ Ｐゴシック"/>
                  <a:cs typeface="+mn-cs"/>
                </a:rPr>
                <a:t>Header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019D45F-FC01-730D-2BD1-C678243E71C4}"/>
                </a:ext>
              </a:extLst>
            </p:cNvPr>
            <p:cNvSpPr/>
            <p:nvPr/>
          </p:nvSpPr>
          <p:spPr>
            <a:xfrm>
              <a:off x="2650556" y="5221509"/>
              <a:ext cx="8900977" cy="2412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294"/>
                </a:spcBef>
                <a:spcAft>
                  <a:spcPts val="294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68" b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ＭＳ Ｐゴシック"/>
                  <a:cs typeface="+mn-cs"/>
                </a:rPr>
                <a:t>Text here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80ADB8D-0156-8C3A-7A69-F25FDB837532}"/>
                </a:ext>
              </a:extLst>
            </p:cNvPr>
            <p:cNvSpPr/>
            <p:nvPr/>
          </p:nvSpPr>
          <p:spPr>
            <a:xfrm>
              <a:off x="2650556" y="2760143"/>
              <a:ext cx="8900977" cy="2412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294"/>
                </a:spcBef>
                <a:spcAft>
                  <a:spcPts val="294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68" b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ＭＳ Ｐゴシック"/>
                  <a:cs typeface="+mn-cs"/>
                </a:rPr>
                <a:t>Text here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B303A1E-77F2-4F8F-19D9-BEBC721A17C0}"/>
                </a:ext>
              </a:extLst>
            </p:cNvPr>
            <p:cNvSpPr/>
            <p:nvPr/>
          </p:nvSpPr>
          <p:spPr>
            <a:xfrm>
              <a:off x="2650556" y="3990826"/>
              <a:ext cx="8900977" cy="2412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294"/>
                </a:spcBef>
                <a:spcAft>
                  <a:spcPts val="294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68" b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ＭＳ Ｐゴシック"/>
                  <a:cs typeface="+mn-cs"/>
                </a:rPr>
                <a:t>Text here</a:t>
              </a: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949D98A-323E-9C4D-2614-E0190F02D1AB}"/>
              </a:ext>
            </a:extLst>
          </p:cNvPr>
          <p:cNvCxnSpPr/>
          <p:nvPr/>
        </p:nvCxnSpPr>
        <p:spPr>
          <a:xfrm>
            <a:off x="2650556" y="2696208"/>
            <a:ext cx="89009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8BA1855-98DE-59D6-4842-05C1E4BAA868}"/>
              </a:ext>
            </a:extLst>
          </p:cNvPr>
          <p:cNvCxnSpPr/>
          <p:nvPr/>
        </p:nvCxnSpPr>
        <p:spPr>
          <a:xfrm>
            <a:off x="2650556" y="3926892"/>
            <a:ext cx="89009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20438F1-1D18-69F0-1193-0372E76807BA}"/>
              </a:ext>
            </a:extLst>
          </p:cNvPr>
          <p:cNvCxnSpPr/>
          <p:nvPr/>
        </p:nvCxnSpPr>
        <p:spPr>
          <a:xfrm>
            <a:off x="2650556" y="5157575"/>
            <a:ext cx="89009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3A125F7C-A18B-E117-C15F-B3DCBFD4778A}"/>
              </a:ext>
            </a:extLst>
          </p:cNvPr>
          <p:cNvSpPr/>
          <p:nvPr/>
        </p:nvSpPr>
        <p:spPr>
          <a:xfrm>
            <a:off x="222480" y="1802149"/>
            <a:ext cx="557436" cy="55743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795BF1FF-F591-E451-5EB0-14FDB069A52D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753" y="1910585"/>
            <a:ext cx="262891" cy="340564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8F228475-94E0-6603-439D-2A8BE6AD6CFC}"/>
              </a:ext>
            </a:extLst>
          </p:cNvPr>
          <p:cNvSpPr/>
          <p:nvPr/>
        </p:nvSpPr>
        <p:spPr>
          <a:xfrm>
            <a:off x="7122007" y="1529460"/>
            <a:ext cx="4467874" cy="2412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68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Text he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D0D6477-4BA9-8EEB-0227-A00F86444796}"/>
              </a:ext>
            </a:extLst>
          </p:cNvPr>
          <p:cNvSpPr txBox="1"/>
          <p:nvPr/>
        </p:nvSpPr>
        <p:spPr>
          <a:xfrm flipH="1">
            <a:off x="7122007" y="1191234"/>
            <a:ext cx="4467874" cy="2412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Head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5DB82A-EEB9-301D-8B8D-5D760FA1F1F3}"/>
              </a:ext>
            </a:extLst>
          </p:cNvPr>
          <p:cNvSpPr/>
          <p:nvPr/>
        </p:nvSpPr>
        <p:spPr>
          <a:xfrm>
            <a:off x="7122007" y="5221509"/>
            <a:ext cx="4467874" cy="2412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68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Text her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9C50934-0829-9216-F0C0-D6EB017B917C}"/>
              </a:ext>
            </a:extLst>
          </p:cNvPr>
          <p:cNvSpPr/>
          <p:nvPr/>
        </p:nvSpPr>
        <p:spPr>
          <a:xfrm>
            <a:off x="7122007" y="2760143"/>
            <a:ext cx="4467874" cy="2412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68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Text her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3AE3A6E-A7EA-A2C8-80CF-D09C837EF308}"/>
              </a:ext>
            </a:extLst>
          </p:cNvPr>
          <p:cNvSpPr/>
          <p:nvPr/>
        </p:nvSpPr>
        <p:spPr>
          <a:xfrm>
            <a:off x="7122007" y="3990826"/>
            <a:ext cx="4467874" cy="2412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68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622922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7</TotalTime>
  <Words>28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535</cp:revision>
  <dcterms:created xsi:type="dcterms:W3CDTF">2021-03-31T02:49:57Z</dcterms:created>
  <dcterms:modified xsi:type="dcterms:W3CDTF">2025-10-15T08:40:46Z</dcterms:modified>
  <cp:category/>
</cp:coreProperties>
</file>